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77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tockChart>
        <c:ser>
          <c:idx val="0"/>
          <c:order val="0"/>
          <c:tx>
            <c:strRef>
              <c:f>Sheet1!$B$1</c:f>
              <c:strCache>
                <c:ptCount val="1"/>
                <c:pt idx="0">
                  <c:v>Open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44</c:v>
                </c:pt>
                <c:pt idx="1">
                  <c:v>25</c:v>
                </c:pt>
                <c:pt idx="2">
                  <c:v>38</c:v>
                </c:pt>
                <c:pt idx="3">
                  <c:v>50</c:v>
                </c:pt>
                <c:pt idx="4">
                  <c:v>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791-4B8F-B588-2FD5BF2FCB5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igh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55</c:v>
                </c:pt>
                <c:pt idx="1">
                  <c:v>57</c:v>
                </c:pt>
                <c:pt idx="2">
                  <c:v>57</c:v>
                </c:pt>
                <c:pt idx="3">
                  <c:v>58</c:v>
                </c:pt>
                <c:pt idx="4">
                  <c:v>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791-4B8F-B588-2FD5BF2FCB5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ow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11</c:v>
                </c:pt>
                <c:pt idx="1">
                  <c:v>12</c:v>
                </c:pt>
                <c:pt idx="2">
                  <c:v>13</c:v>
                </c:pt>
                <c:pt idx="3">
                  <c:v>11</c:v>
                </c:pt>
                <c:pt idx="4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791-4B8F-B588-2FD5BF2FCB5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lose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E$2:$E$6</c:f>
              <c:numCache>
                <c:formatCode>General</c:formatCode>
                <c:ptCount val="5"/>
                <c:pt idx="0">
                  <c:v>25</c:v>
                </c:pt>
                <c:pt idx="1">
                  <c:v>38</c:v>
                </c:pt>
                <c:pt idx="2">
                  <c:v>50</c:v>
                </c:pt>
                <c:pt idx="3">
                  <c:v>34</c:v>
                </c:pt>
                <c:pt idx="4">
                  <c:v>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791-4B8F-B588-2FD5BF2FCB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9525" cap="flat" cmpd="sng" algn="ctr">
              <a:solidFill>
                <a:schemeClr val="tx1">
                  <a:lumMod val="75000"/>
                  <a:lumOff val="25000"/>
                </a:schemeClr>
              </a:solidFill>
              <a:round/>
            </a:ln>
            <a:effectLst/>
          </c:spPr>
        </c:hiLowLines>
        <c:upDownBars>
          <c:gapWidth val="150"/>
          <c:upBars>
            <c:spPr>
              <a:solidFill>
                <a:schemeClr val="accent2"/>
              </a:solidFill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upBars>
          <c:downBars>
            <c:spPr>
              <a:solidFill>
                <a:schemeClr val="accent1"/>
              </a:solidFill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downBars>
        </c:upDownBars>
        <c:axId val="223203952"/>
        <c:axId val="223194832"/>
      </c:stockChart>
      <c:dateAx>
        <c:axId val="22320395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3194832"/>
        <c:crosses val="autoZero"/>
        <c:auto val="1"/>
        <c:lblOffset val="100"/>
        <c:baseTimeUnit val="months"/>
      </c:dateAx>
      <c:valAx>
        <c:axId val="2231948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3203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A9987B-C1D2-96F4-6CAE-924F5A7699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F834E1C-DB78-EE04-323B-B405F041A4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EAC902-E84B-B8B1-6109-6CAFE7DFF8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D7521C-E236-16B6-5FA6-FE7179F32A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C9E73-F2F7-4C58-BF31-7F38D6994C8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7787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3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AEB6FA-EB6E-4F2D-7735-D064CE2F09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5F5E380-F9AD-C577-9007-4A2D9664D4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F5E380-F9AD-C577-9007-4A2D9664D4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3D1B758A-2E7F-5580-7B74-3FC3D3A47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tock Chart / Tex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BC89D79-C1FB-760A-F7DF-80F3525D8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996E1D2D-757C-C58D-C9E3-1A5C75ACC8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4189492-A24A-F2FC-BA8D-CBEBB93E194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Placeholder 6">
            <a:extLst>
              <a:ext uri="{FF2B5EF4-FFF2-40B4-BE49-F238E27FC236}">
                <a16:creationId xmlns:a16="http://schemas.microsoft.com/office/drawing/2014/main" id="{203E95D0-2905-6D4F-4C16-610A8234C546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1DBCCC54-6F01-6FBA-1ECB-60D6D4ADD4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FE8EB1D1-26D6-5C32-BC11-858767C82F8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88523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4</TotalTime>
  <Words>86</Words>
  <Application>Microsoft Office PowerPoint</Application>
  <PresentationFormat>Widescreen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Stock Chart / 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12</cp:revision>
  <dcterms:created xsi:type="dcterms:W3CDTF">2025-07-09T10:57:17Z</dcterms:created>
  <dcterms:modified xsi:type="dcterms:W3CDTF">2025-10-22T09:59:27Z</dcterms:modified>
  <cp:category/>
</cp:coreProperties>
</file>